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9"/>
  </p:notesMasterIdLst>
  <p:handoutMasterIdLst>
    <p:handoutMasterId r:id="rId30"/>
  </p:handoutMasterIdLst>
  <p:sldIdLst>
    <p:sldId id="321" r:id="rId4"/>
    <p:sldId id="331" r:id="rId5"/>
    <p:sldId id="2145705951" r:id="rId6"/>
    <p:sldId id="2145705952" r:id="rId7"/>
    <p:sldId id="2145705953" r:id="rId8"/>
    <p:sldId id="2145705954" r:id="rId9"/>
    <p:sldId id="2145705955" r:id="rId10"/>
    <p:sldId id="2145705964" r:id="rId11"/>
    <p:sldId id="2145705965" r:id="rId12"/>
    <p:sldId id="2145705966" r:id="rId13"/>
    <p:sldId id="2145705956" r:id="rId14"/>
    <p:sldId id="2145705957" r:id="rId15"/>
    <p:sldId id="2145705967" r:id="rId16"/>
    <p:sldId id="2145705968" r:id="rId17"/>
    <p:sldId id="2145705969" r:id="rId18"/>
    <p:sldId id="2145705958" r:id="rId19"/>
    <p:sldId id="2145705959" r:id="rId20"/>
    <p:sldId id="2145705960" r:id="rId21"/>
    <p:sldId id="2145705970" r:id="rId22"/>
    <p:sldId id="2145705971" r:id="rId23"/>
    <p:sldId id="2145705972" r:id="rId24"/>
    <p:sldId id="2145705973" r:id="rId25"/>
    <p:sldId id="2145705961" r:id="rId26"/>
    <p:sldId id="2145705962" r:id="rId27"/>
    <p:sldId id="2145705963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1"/>
            <p14:sldId id="2145705951"/>
            <p14:sldId id="2145705952"/>
            <p14:sldId id="2145705953"/>
            <p14:sldId id="2145705954"/>
            <p14:sldId id="2145705955"/>
            <p14:sldId id="2145705964"/>
            <p14:sldId id="2145705965"/>
            <p14:sldId id="2145705966"/>
            <p14:sldId id="2145705956"/>
            <p14:sldId id="2145705957"/>
            <p14:sldId id="2145705967"/>
            <p14:sldId id="2145705968"/>
            <p14:sldId id="2145705969"/>
            <p14:sldId id="2145705958"/>
            <p14:sldId id="2145705959"/>
            <p14:sldId id="2145705960"/>
            <p14:sldId id="2145705970"/>
            <p14:sldId id="2145705971"/>
            <p14:sldId id="2145705972"/>
            <p14:sldId id="2145705973"/>
            <p14:sldId id="2145705961"/>
            <p14:sldId id="2145705962"/>
            <p14:sldId id="2145705963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187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912" y="114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5T05:38:46.928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5T05:38:49.539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25T05:38:57.710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logforlearning.com/2019/06/learning-java-oop-understanding.html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x-wei.github.io/algo-ds-mindmap.html" TargetMode="Externa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job-interview-colleagues-business-437026/" TargetMode="External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comicbookdaily.com/collecting-community/time-to-collect/a-new-beginning/" TargetMode="External"/><Relationship Id="rId4" Type="http://schemas.openxmlformats.org/officeDocument/2006/relationships/image" Target="../media/image29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customXml" Target="../ink/ink3.xml"/><Relationship Id="rId4" Type="http://schemas.openxmlformats.org/officeDocument/2006/relationships/customXml" Target="../ink/ink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allpaperflare.com/100-us-dollar-banknote-lot-money-cash-bills-wealth-currency-wallpaper-pmpwo/download/1366x768" TargetMode="External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creativecommons.org/licenses/by-nc-nd/3.0/" TargetMode="External"/><Relationship Id="rId5" Type="http://schemas.openxmlformats.org/officeDocument/2006/relationships/hyperlink" Target="https://tenzine.blogspot.com/2018/05/small-towns-or-big-cities.html" TargetMode="Externa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wallpaperflare.com/code-web-development-javascript-computer-screen-pixels-programming-php-syntax-highlighting-programming-language-html-wallpaper-hwrpp/download/3840x2160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flickr.com/photos/servantofchaos/8293062984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en.wikipedia.org/wiki/File:Hunting_tiger.JPG" TargetMode="External"/><Relationship Id="rId5" Type="http://schemas.openxmlformats.org/officeDocument/2006/relationships/image" Target="../media/image44.JPG"/><Relationship Id="rId4" Type="http://schemas.openxmlformats.org/officeDocument/2006/relationships/hyperlink" Target="https://svgsilh.com/image/311658.html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7B425-4DFD-FE33-C596-44F5EDAB5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ACDC647-A105-0D5C-F5E2-F0A451F23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ogramming</a:t>
            </a:r>
            <a:r>
              <a:rPr lang="vi-VN" dirty="0"/>
              <a:t> </a:t>
            </a:r>
            <a:r>
              <a:rPr lang="vi-VN" dirty="0" err="1"/>
              <a:t>Theory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1A4A2410-E61D-2D13-AFB6-FF0CF33767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49577" y="2232837"/>
            <a:ext cx="5336405" cy="3625703"/>
          </a:xfrm>
          <a:prstGeom prst="rect">
            <a:avLst/>
          </a:prstGeom>
        </p:spPr>
      </p:pic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700658B4-6647-1408-4EA5-7B139045E0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49577" y="2232837"/>
            <a:ext cx="5336405" cy="36257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8C9F41-A529-1A09-4F38-E68ADA3E4F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991358" y="2232836"/>
            <a:ext cx="4551065" cy="362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48497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B276558-B87E-AFFF-7A38-6C22501D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areer</a:t>
            </a:r>
            <a:endParaRPr lang="vi-VN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ACFDF5A7-3F2A-D8C7-F602-F9582E078420}"/>
              </a:ext>
            </a:extLst>
          </p:cNvPr>
          <p:cNvSpPr txBox="1">
            <a:spLocks/>
          </p:cNvSpPr>
          <p:nvPr/>
        </p:nvSpPr>
        <p:spPr>
          <a:xfrm>
            <a:off x="1689431" y="504150"/>
            <a:ext cx="10188951" cy="5713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BC2B9-1BA1-AAF6-0E1B-126DA8715A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34203" y="1881411"/>
            <a:ext cx="5561797" cy="37107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13B76F2-6E2F-9256-AF4A-37786C4C62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34203" y="1881411"/>
            <a:ext cx="5561797" cy="37107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1F14925-564B-F43C-8A9A-5B394C355C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710115" y="1881411"/>
            <a:ext cx="4947682" cy="371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496620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F85ECE4-6529-80F1-5A86-DDB53C3EA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ective Communication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EE394E-B404-A89D-9E83-91C6C3C61D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3548" y="1455571"/>
            <a:ext cx="9394191" cy="511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9879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B23E96-D491-96F7-429C-55E120B13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C34E1C0-EDFA-3F30-C7A1-B222B83F0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Thinking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6A3236-D694-E9DE-C408-D46C9E66D4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637" y="1405175"/>
            <a:ext cx="10480466" cy="499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000951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899FD-5063-CE13-2B35-34EE56110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5779653-C2B2-B2E5-1446-C8F9CBF9E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olving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B4AAEF-77FF-8DC2-CFBF-A38F4FB1A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7022" y="1377498"/>
            <a:ext cx="9337956" cy="522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381563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6977C6-3079-0938-266A-306240CE2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464FEDC-FF1E-1B1A-1A56-591F3E700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ime</a:t>
            </a:r>
            <a:r>
              <a:rPr lang="vi-VN" dirty="0"/>
              <a:t> </a:t>
            </a:r>
            <a:r>
              <a:rPr lang="vi-VN" dirty="0" err="1"/>
              <a:t>management</a:t>
            </a:r>
            <a:endParaRPr lang="vi-VN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9811FD7-196A-B02B-9882-6A3BB06ACCFE}"/>
                  </a:ext>
                </a:extLst>
              </p14:cNvPr>
              <p14:cNvContentPartPr/>
              <p14:nvPr/>
            </p14:nvContentPartPr>
            <p14:xfrm>
              <a:off x="3205417" y="3962253"/>
              <a:ext cx="360" cy="36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9811FD7-196A-B02B-9882-6A3BB06ACCF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133417" y="3818613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265FD22C-F0FF-C37C-D272-A58EFC5D647B}"/>
                  </a:ext>
                </a:extLst>
              </p14:cNvPr>
              <p14:cNvContentPartPr/>
              <p14:nvPr/>
            </p14:nvContentPartPr>
            <p14:xfrm>
              <a:off x="3942337" y="2861013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265FD22C-F0FF-C37C-D272-A58EFC5D647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70697" y="2717013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1A1BDA4C-B62F-3534-1A15-DF5415246F50}"/>
                  </a:ext>
                </a:extLst>
              </p14:cNvPr>
              <p14:cNvContentPartPr/>
              <p14:nvPr/>
            </p14:nvContentPartPr>
            <p14:xfrm>
              <a:off x="-1239143" y="108093"/>
              <a:ext cx="360" cy="3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1A1BDA4C-B62F-3534-1A15-DF5415246F5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311143" y="-35547"/>
                <a:ext cx="144000" cy="288000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Content Placeholder 11">
            <a:extLst>
              <a:ext uri="{FF2B5EF4-FFF2-40B4-BE49-F238E27FC236}">
                <a16:creationId xmlns:a16="http://schemas.microsoft.com/office/drawing/2014/main" id="{4D300CCA-5439-5DAB-FF1D-C11452836B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7490" y="1384340"/>
            <a:ext cx="5901207" cy="516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90420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0A70A97-F676-7C8A-1296-9A92D9680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English</a:t>
            </a:r>
            <a:r>
              <a:rPr lang="vi-VN" dirty="0"/>
              <a:t> </a:t>
            </a:r>
            <a:r>
              <a:rPr lang="vi-VN" dirty="0" err="1"/>
              <a:t>Club</a:t>
            </a:r>
            <a:endParaRPr lang="vi-VN" dirty="0"/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ECBCA1E1-7E61-86E0-6B3A-2A804C9F8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41190" y="2332298"/>
            <a:ext cx="5168494" cy="2910828"/>
          </a:xfrm>
          <a:prstGeom prst="rect">
            <a:avLst/>
          </a:prstGeom>
        </p:spPr>
      </p:pic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C340E619-7D07-8C24-2950-50A8673739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41190" y="2332298"/>
            <a:ext cx="5168494" cy="29108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4951A6-7981-7E09-8112-8EA7E258C1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096000" y="2332298"/>
            <a:ext cx="5560985" cy="29108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54F8413-D150-04B1-548A-F8C0CF1C2BB3}"/>
              </a:ext>
            </a:extLst>
          </p:cNvPr>
          <p:cNvSpPr txBox="1"/>
          <p:nvPr/>
        </p:nvSpPr>
        <p:spPr>
          <a:xfrm>
            <a:off x="4494028" y="8780621"/>
            <a:ext cx="9753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vi-VN" sz="900">
                <a:hlinkClick r:id="rId5" tooltip="https://tenzine.blogspot.com/2018/05/small-towns-or-big-cities.html"/>
              </a:rPr>
              <a:t>This Photo</a:t>
            </a:r>
            <a:r>
              <a:rPr lang="vi-VN" sz="900"/>
              <a:t> by Unknown Author is licensed under </a:t>
            </a:r>
            <a:r>
              <a:rPr lang="vi-VN" sz="900">
                <a:hlinkClick r:id="rId6" tooltip="https://creativecommons.org/licenses/by-nc-nd/3.0/"/>
              </a:rPr>
              <a:t>CC BY-NC-ND</a:t>
            </a:r>
            <a:endParaRPr lang="vi-VN" sz="900"/>
          </a:p>
        </p:txBody>
      </p:sp>
    </p:spTree>
    <p:extLst>
      <p:ext uri="{BB962C8B-B14F-4D97-AF65-F5344CB8AC3E}">
        <p14:creationId xmlns:p14="http://schemas.microsoft.com/office/powerpoint/2010/main" val="2338800886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463134-5F0E-89C5-FF73-9B4321F56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hallenge</a:t>
            </a:r>
            <a:endParaRPr lang="vi-VN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3736E97-8829-694A-8C4C-68D979670F98}"/>
              </a:ext>
            </a:extLst>
          </p:cNvPr>
          <p:cNvSpPr txBox="1">
            <a:spLocks/>
          </p:cNvSpPr>
          <p:nvPr/>
        </p:nvSpPr>
        <p:spPr>
          <a:xfrm>
            <a:off x="1689431" y="504150"/>
            <a:ext cx="10188951" cy="5713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79E2A3-7081-1717-574D-E1FB956218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857" y="1856634"/>
            <a:ext cx="4013680" cy="34596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D0DEBA-F5F3-4214-BD8E-59CDE19AE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519731" y="1856634"/>
            <a:ext cx="6061511" cy="3459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4623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E0BC45-E4AC-D1E9-6FA2-A232F2B97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hallenge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85F6C6-9329-4212-5CAF-8844C1E903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721" y="1867879"/>
            <a:ext cx="4476581" cy="37992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43A17F-30DF-B7A6-3254-0A7B4485EE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0008" y="1867879"/>
            <a:ext cx="5407797" cy="37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94009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2768A2-A807-C8B9-F638-29940B80AE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8C0DFAA-F9D8-BCB6-A2B2-5C46B1B21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Impact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295E95BE-CAFF-144C-51FF-19CBE032BC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1623" y="1848643"/>
            <a:ext cx="5744377" cy="3953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B1D8994-052C-D062-FEC1-A3E982DADC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985758" y="1646789"/>
            <a:ext cx="4155281" cy="415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140080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CFE298E9-15A0-C7DB-8235-15217454F2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1530350"/>
            <a:ext cx="5232400" cy="4895850"/>
          </a:xfrm>
        </p:spPr>
        <p:txBody>
          <a:bodyPr/>
          <a:lstStyle/>
          <a:p>
            <a:r>
              <a:rPr lang="vi-VN" dirty="0" err="1"/>
              <a:t>Opening</a:t>
            </a:r>
            <a:endParaRPr lang="en-GB" noProof="0" dirty="0"/>
          </a:p>
          <a:p>
            <a:pPr lvl="1"/>
            <a:endParaRPr lang="en-GB" noProof="0" dirty="0"/>
          </a:p>
          <a:p>
            <a:r>
              <a:rPr lang="vi-VN" noProof="0" dirty="0" err="1"/>
              <a:t>Achievements</a:t>
            </a:r>
            <a:r>
              <a:rPr lang="vi-VN" noProof="0" dirty="0"/>
              <a:t> &amp; Project</a:t>
            </a:r>
            <a:endParaRPr lang="en-GB" noProof="0" dirty="0"/>
          </a:p>
          <a:p>
            <a:pPr lvl="1"/>
            <a:endParaRPr lang="en-GB" noProof="0" dirty="0"/>
          </a:p>
          <a:p>
            <a:r>
              <a:rPr lang="vi-VN" dirty="0" err="1"/>
              <a:t>Learning</a:t>
            </a:r>
            <a:r>
              <a:rPr lang="vi-VN" dirty="0"/>
              <a:t> &amp; </a:t>
            </a:r>
            <a:r>
              <a:rPr lang="vi-VN" dirty="0" err="1"/>
              <a:t>Growth</a:t>
            </a:r>
            <a:endParaRPr lang="en-GB" noProof="0" dirty="0"/>
          </a:p>
          <a:p>
            <a:pPr lvl="1"/>
            <a:endParaRPr lang="en-GB" noProof="0" dirty="0"/>
          </a:p>
          <a:p>
            <a:r>
              <a:rPr lang="vi-VN" dirty="0" err="1"/>
              <a:t>Challenges</a:t>
            </a:r>
            <a:r>
              <a:rPr lang="vi-VN" dirty="0"/>
              <a:t> &amp; </a:t>
            </a:r>
            <a:r>
              <a:rPr lang="vi-VN" dirty="0" err="1"/>
              <a:t>Overcoming</a:t>
            </a:r>
            <a:endParaRPr lang="en-GB" noProof="0" dirty="0"/>
          </a:p>
          <a:p>
            <a:pPr lvl="1"/>
            <a:endParaRPr lang="en-GB" noProof="0" dirty="0"/>
          </a:p>
          <a:p>
            <a:r>
              <a:rPr lang="vi-VN" dirty="0" err="1"/>
              <a:t>Better</a:t>
            </a:r>
            <a:r>
              <a:rPr lang="vi-VN" dirty="0"/>
              <a:t> </a:t>
            </a:r>
            <a:r>
              <a:rPr lang="vi-VN" dirty="0" err="1"/>
              <a:t>version</a:t>
            </a:r>
            <a:r>
              <a:rPr lang="vi-VN" dirty="0"/>
              <a:t> </a:t>
            </a:r>
            <a:r>
              <a:rPr lang="vi-VN" dirty="0" err="1"/>
              <a:t>of</a:t>
            </a:r>
            <a:r>
              <a:rPr lang="vi-VN" dirty="0"/>
              <a:t> </a:t>
            </a:r>
            <a:r>
              <a:rPr lang="vi-VN" dirty="0" err="1"/>
              <a:t>myself</a:t>
            </a:r>
            <a:endParaRPr lang="en-GB" noProof="0" dirty="0"/>
          </a:p>
          <a:p>
            <a:pPr lvl="1"/>
            <a:endParaRPr lang="en-GB" noProof="0" dirty="0"/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C01B78-9A5F-709E-2E28-2DF4DD68A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3085AE6-43B6-B299-5B0B-ADC3142B7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How</a:t>
            </a:r>
            <a:r>
              <a:rPr lang="vi-VN" dirty="0"/>
              <a:t> to </a:t>
            </a:r>
            <a:r>
              <a:rPr lang="vi-VN" dirty="0" err="1"/>
              <a:t>overcome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A66A8CF7-2FD0-2DCD-5383-4ED3472B4D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17016" y="2022372"/>
            <a:ext cx="4850407" cy="3611522"/>
          </a:xfrm>
          <a:prstGeom prst="rect">
            <a:avLst/>
          </a:prstGeom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44B41708-89E1-22AB-42B8-CA982D482B07}"/>
              </a:ext>
            </a:extLst>
          </p:cNvPr>
          <p:cNvSpPr txBox="1">
            <a:spLocks/>
          </p:cNvSpPr>
          <p:nvPr/>
        </p:nvSpPr>
        <p:spPr>
          <a:xfrm>
            <a:off x="1689431" y="504150"/>
            <a:ext cx="10188951" cy="5713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vi-V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06D486-4E28-7248-1EB1-61FEEBE36B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5869172" y="1789244"/>
            <a:ext cx="6105357" cy="407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31447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1207-86F3-3A91-1BA3-3D8C0526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C829C9-6513-2261-11B8-92F48E90F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Healing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8E9CCD-43EA-7DFF-53FA-15A56D53DB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283" y="1784307"/>
            <a:ext cx="5117258" cy="383393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F5E51E3-EBD1-0FCC-DD73-AA59BFB8D1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283" y="1784307"/>
            <a:ext cx="5117258" cy="38339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4F3674A-C1F3-6C55-77D1-388B94497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7385" y="1784307"/>
            <a:ext cx="2855686" cy="380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307644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661A65-A57D-050A-4E9F-EEA33A0FCD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C4DDBAE-7E97-880A-8FD7-9C11BCBBA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Experience</a:t>
            </a:r>
            <a:endParaRPr lang="vi-VN" dirty="0"/>
          </a:p>
        </p:txBody>
      </p:sp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64E5F271-CDAF-6D88-BC52-18EFE4FD6F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2798" y="1208399"/>
            <a:ext cx="7830969" cy="511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585933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71B4F5-3D3B-94D6-FE60-6A4B28C4B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Work</a:t>
            </a:r>
            <a:r>
              <a:rPr lang="vi-VN" dirty="0"/>
              <a:t> &amp; </a:t>
            </a:r>
            <a:r>
              <a:rPr lang="vi-VN" dirty="0" err="1"/>
              <a:t>Communicate</a:t>
            </a:r>
            <a:endParaRPr lang="vi-VN" dirty="0"/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0BFB6E70-694A-4178-A8FA-B4B0ECAC3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07559" y="1652588"/>
            <a:ext cx="3893040" cy="389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EA0C06C8-D9C3-E2AC-F942-9A640CAE8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07559" y="1652588"/>
            <a:ext cx="3893040" cy="389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00414B-5CE5-8CE8-602A-0EF2D31CAA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5753" y="1652588"/>
            <a:ext cx="5188688" cy="389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00824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B27E102-1F85-D739-FBE1-123ACE4DB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I’m looking forward to the next milestones to become an even better version of myself.”</a:t>
            </a:r>
            <a:endParaRPr lang="vi-VN" dirty="0"/>
          </a:p>
        </p:txBody>
      </p:sp>
      <p:pic>
        <p:nvPicPr>
          <p:cNvPr id="7" name="Picture 2" descr="Có thể là hình ảnh về 9 người và văn bản">
            <a:extLst>
              <a:ext uri="{FF2B5EF4-FFF2-40B4-BE49-F238E27FC236}">
                <a16:creationId xmlns:a16="http://schemas.microsoft.com/office/drawing/2014/main" id="{C4EA401C-6608-EEEA-84EA-508BB0B5B7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0826" y="1390036"/>
            <a:ext cx="6870348" cy="515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064785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5CC3524-CE6D-7F1F-3EAC-4E5A5DBAF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ile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894CCE-8DCD-4CD4-C0C8-F1DDA33AC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387" y="1245430"/>
            <a:ext cx="9247456" cy="5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10017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BC30E45-B9F4-3FAA-E5F4-F57E9C8477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239178"/>
            <a:ext cx="6704888" cy="503618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A1DAF0-6F71-5C91-D86F-B4D9C05746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C546488-573A-BAE2-9202-27F41F37D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/>
              <a:t>YPP4 -TEAM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3363946-DB60-1872-A939-ED888C01F30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2958" r="2958"/>
          <a:stretch>
            <a:fillRect/>
          </a:stretch>
        </p:blipFill>
        <p:spPr>
          <a:xfrm>
            <a:off x="8206354" y="1239178"/>
            <a:ext cx="3553646" cy="503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0535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FE7CCC-3BFF-3EAE-243D-04AF36BA0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Analysis</a:t>
            </a:r>
            <a:r>
              <a:rPr lang="vi-VN" dirty="0"/>
              <a:t> </a:t>
            </a:r>
            <a:r>
              <a:rPr lang="vi-VN" dirty="0" err="1"/>
              <a:t>Requiremen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F37CBE-D890-6737-9B65-201FC0179C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7586" y="1141096"/>
            <a:ext cx="9428065" cy="497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3602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0D5E0F-BD18-7F5D-59B2-920078B23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Database</a:t>
            </a:r>
            <a:endParaRPr lang="vi-VN" dirty="0"/>
          </a:p>
        </p:txBody>
      </p:sp>
      <p:pic>
        <p:nvPicPr>
          <p:cNvPr id="7" name="Picture 2" descr="What is a database? Definition, types and examples | Blog | Fivetran">
            <a:extLst>
              <a:ext uri="{FF2B5EF4-FFF2-40B4-BE49-F238E27FC236}">
                <a16:creationId xmlns:a16="http://schemas.microsoft.com/office/drawing/2014/main" id="{7857DAF9-F167-480C-7357-EE8D5454C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770" y="1446111"/>
            <a:ext cx="8674460" cy="4959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2829537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6BC3C17-9DEE-85D4-B3B2-0E3ED5370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ogramming</a:t>
            </a:r>
            <a:endParaRPr lang="vi-VN" dirty="0"/>
          </a:p>
        </p:txBody>
      </p:sp>
      <p:pic>
        <p:nvPicPr>
          <p:cNvPr id="9" name="Picture 2" descr="TypeScript Tutorial: A Guide to Using the Programming Language - The ...">
            <a:extLst>
              <a:ext uri="{FF2B5EF4-FFF2-40B4-BE49-F238E27FC236}">
                <a16:creationId xmlns:a16="http://schemas.microsoft.com/office/drawing/2014/main" id="{68FBE00B-70C3-BBD1-FCB6-3748FDABE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190" y="2560251"/>
            <a:ext cx="4732842" cy="2664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TypeScript Tutorial: A Guide to Using the Programming Language - The ...">
            <a:extLst>
              <a:ext uri="{FF2B5EF4-FFF2-40B4-BE49-F238E27FC236}">
                <a16:creationId xmlns:a16="http://schemas.microsoft.com/office/drawing/2014/main" id="{8A5E8686-8CA8-50BD-4B88-53AEC2CA4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190" y="2560251"/>
            <a:ext cx="4732842" cy="2664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SQL Tutorial - GeeksforGeeks">
            <a:extLst>
              <a:ext uri="{FF2B5EF4-FFF2-40B4-BE49-F238E27FC236}">
                <a16:creationId xmlns:a16="http://schemas.microsoft.com/office/drawing/2014/main" id="{9BF7ABCF-99EA-3041-B6EF-89377C7D0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783" y="2560251"/>
            <a:ext cx="5147027" cy="2654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29468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F82E9F1-31B0-2439-2341-F17022ED5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est</a:t>
            </a:r>
            <a:r>
              <a:rPr lang="vi-VN" dirty="0"/>
              <a:t> </a:t>
            </a:r>
            <a:r>
              <a:rPr lang="vi-VN" dirty="0" err="1"/>
              <a:t>case</a:t>
            </a:r>
            <a:endParaRPr lang="vi-VN" dirty="0"/>
          </a:p>
        </p:txBody>
      </p:sp>
      <p:pic>
        <p:nvPicPr>
          <p:cNvPr id="7" name="Picture 2" descr="Unit Test là gì? 5 khái niệm cần biết khi sử dụng Unit Test">
            <a:extLst>
              <a:ext uri="{FF2B5EF4-FFF2-40B4-BE49-F238E27FC236}">
                <a16:creationId xmlns:a16="http://schemas.microsoft.com/office/drawing/2014/main" id="{47BB5BBE-6159-CC18-D577-1F7A8F5C2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089" y="1416614"/>
            <a:ext cx="7568803" cy="46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602647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9D44B-2E9C-E6F6-F0D6-D6D20D73F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1014B69-0C7A-9DC1-2C5D-565ECEACF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inciples</a:t>
            </a:r>
            <a:endParaRPr lang="vi-VN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8F8156-599F-B9B0-D691-E63E549BE2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0804" y="1331685"/>
            <a:ext cx="3702305" cy="5073530"/>
          </a:xfrm>
          <a:prstGeom prst="rect">
            <a:avLst/>
          </a:prstGeom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24FFDBE1-2B83-113C-70FB-B14AB59D5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105" y="1331685"/>
            <a:ext cx="3905091" cy="50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086639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7706E-A9BD-88EF-01BE-25F5F95B8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74393E2-C807-C884-47D3-A501F8B97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ool</a:t>
            </a:r>
            <a:r>
              <a:rPr lang="vi-VN" dirty="0"/>
              <a:t> , </a:t>
            </a:r>
            <a:r>
              <a:rPr lang="vi-VN" dirty="0" err="1"/>
              <a:t>Framework</a:t>
            </a:r>
            <a:r>
              <a:rPr lang="vi-VN" dirty="0"/>
              <a:t> </a:t>
            </a:r>
          </a:p>
        </p:txBody>
      </p:sp>
      <p:pic>
        <p:nvPicPr>
          <p:cNvPr id="2" name="Picture 2" descr="Git Manual for Beginners. Git is the most popular distributed… | by ...">
            <a:extLst>
              <a:ext uri="{FF2B5EF4-FFF2-40B4-BE49-F238E27FC236}">
                <a16:creationId xmlns:a16="http://schemas.microsoft.com/office/drawing/2014/main" id="{E18A3F5B-A7D1-D49E-1003-EB33E07D9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637" y="1596453"/>
            <a:ext cx="3507062" cy="2111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416CBD8-FECD-0859-E95E-A616AB3FFE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572" y="4480308"/>
            <a:ext cx="1746174" cy="1746174"/>
          </a:xfrm>
          <a:prstGeom prst="rect">
            <a:avLst/>
          </a:prstGeom>
        </p:spPr>
      </p:pic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BACB197C-1AC2-1E23-7C97-D20861604A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147273" y="1227871"/>
            <a:ext cx="5409830" cy="303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E23A71-DA70-AC07-E922-2795F40BC7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2972" y="4632708"/>
            <a:ext cx="1746174" cy="1746174"/>
          </a:xfrm>
          <a:prstGeom prst="rect">
            <a:avLst/>
          </a:prstGeom>
        </p:spPr>
      </p:pic>
      <p:pic>
        <p:nvPicPr>
          <p:cNvPr id="7" name="Picture 6" descr="Maîtriser Microsoft SQL Server Management Studio : un guide essentiel">
            <a:extLst>
              <a:ext uri="{FF2B5EF4-FFF2-40B4-BE49-F238E27FC236}">
                <a16:creationId xmlns:a16="http://schemas.microsoft.com/office/drawing/2014/main" id="{1DF5C3CA-611D-1BDA-E21A-5B8E3BC14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161" y="4215596"/>
            <a:ext cx="4194928" cy="235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8650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70</TotalTime>
  <Words>82</Words>
  <Application>Microsoft Office PowerPoint</Application>
  <PresentationFormat>Widescreen</PresentationFormat>
  <Paragraphs>36</Paragraphs>
  <Slides>2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Arial</vt:lpstr>
      <vt:lpstr>Calibri</vt:lpstr>
      <vt:lpstr>bbv template EN</vt:lpstr>
      <vt:lpstr>think-cell Slide</vt:lpstr>
      <vt:lpstr>PowerPoint Presentation</vt:lpstr>
      <vt:lpstr>Agenda</vt:lpstr>
      <vt:lpstr>YPP4 -TEAM</vt:lpstr>
      <vt:lpstr>Analysis Requirement</vt:lpstr>
      <vt:lpstr>Database</vt:lpstr>
      <vt:lpstr>Programming</vt:lpstr>
      <vt:lpstr>Test case</vt:lpstr>
      <vt:lpstr>Principles</vt:lpstr>
      <vt:lpstr>Tool , Framework </vt:lpstr>
      <vt:lpstr>Programming Theory</vt:lpstr>
      <vt:lpstr>Career</vt:lpstr>
      <vt:lpstr>Effective Communication</vt:lpstr>
      <vt:lpstr>Critical Thinking</vt:lpstr>
      <vt:lpstr>Problem Solving</vt:lpstr>
      <vt:lpstr>Time management</vt:lpstr>
      <vt:lpstr>English Club</vt:lpstr>
      <vt:lpstr>Challenge</vt:lpstr>
      <vt:lpstr>Challenge</vt:lpstr>
      <vt:lpstr>Impact</vt:lpstr>
      <vt:lpstr>How to overcome</vt:lpstr>
      <vt:lpstr>Healing</vt:lpstr>
      <vt:lpstr>Experience</vt:lpstr>
      <vt:lpstr>Work &amp; Communicate</vt:lpstr>
      <vt:lpstr>“I’m looking forward to the next milestones to become an even better version of myself.”</vt:lpstr>
      <vt:lpstr>Agi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2</cp:revision>
  <dcterms:created xsi:type="dcterms:W3CDTF">2025-07-10T03:51:23Z</dcterms:created>
  <dcterms:modified xsi:type="dcterms:W3CDTF">2025-08-25T08:04:34Z</dcterms:modified>
</cp:coreProperties>
</file>